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3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6.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7.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8.xml" ContentType="application/vnd.openxmlformats-officedocument.presentationml.tags+xml"/>
  <Override PartName="/ppt/charts/chart15.xml" ContentType="application/vnd.openxmlformats-officedocument.drawingml.chart+xml"/>
  <Override PartName="/ppt/tags/tag39.xml" ContentType="application/vnd.openxmlformats-officedocument.presentationml.tags+xml"/>
  <Override PartName="/ppt/charts/chart16.xml" ContentType="application/vnd.openxmlformats-officedocument.drawingml.chart+xml"/>
  <Override PartName="/ppt/tags/tag40.xml" ContentType="application/vnd.openxmlformats-officedocument.presentationml.tags+xml"/>
  <Override PartName="/ppt/charts/chart17.xml" ContentType="application/vnd.openxmlformats-officedocument.drawingml.chart+xml"/>
  <Override PartName="/ppt/tags/tag41.xml" ContentType="application/vnd.openxmlformats-officedocument.presentationml.tags+xml"/>
  <Override PartName="/ppt/charts/chart18.xml" ContentType="application/vnd.openxmlformats-officedocument.drawingml.chart+xml"/>
  <Override PartName="/ppt/tags/tag42.xml" ContentType="application/vnd.openxmlformats-officedocument.presentationml.tags+xml"/>
  <Override PartName="/ppt/charts/chart19.xml" ContentType="application/vnd.openxmlformats-officedocument.drawingml.chart+xml"/>
  <Override PartName="/ppt/tags/tag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44.xml" ContentType="application/vnd.openxmlformats-officedocument.presentationml.tags+xml"/>
  <Override PartName="/ppt/charts/chart22.xml" ContentType="application/vnd.openxmlformats-officedocument.drawingml.chart+xml"/>
  <Override PartName="/ppt/tags/tag4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4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ags/tag47.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641CC6E8-11DC-47D0-B7C3-37BA73F1B792}">
          <p14:sldIdLst>
            <p14:sldId id="2147475164"/>
            <p14:sldId id="2147475165"/>
            <p14:sldId id="2147475166"/>
            <p14:sldId id="2147475167"/>
            <p14:sldId id="2147475168"/>
          </p14:sldIdLst>
        </p14:section>
        <p14:section name="Innovation ranking" id="{D9F080D1-C7E6-4BC6-BC7B-6DC47ED5E4BD}">
          <p14:sldIdLst>
            <p14:sldId id="2147475169"/>
            <p14:sldId id="2147475170"/>
            <p14:sldId id="2147475171"/>
            <p14:sldId id="2147475172"/>
            <p14:sldId id="2147475173"/>
          </p14:sldIdLst>
        </p14:section>
        <p14:section name="Innovation potential" id="{13D487D9-16E4-419D-815E-11E40D6DE4E6}">
          <p14:sldIdLst>
            <p14:sldId id="2147475174"/>
            <p14:sldId id="2147475175"/>
            <p14:sldId id="2147475176"/>
            <p14:sldId id="2147475177"/>
            <p14:sldId id="2147475178"/>
          </p14:sldIdLst>
        </p14:section>
        <p14:section name="Innovation sourcing" id="{CD8D3D93-42CA-49E3-92D6-35DF543780DD}">
          <p14:sldIdLst>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98" d="100"/>
          <a:sy n="98" d="100"/>
        </p:scale>
        <p:origin x="1046"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ershey's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B$2:$B$7</c:f>
              <c:numCache>
                <c:formatCode>General</c:formatCode>
                <c:ptCount val="6"/>
                <c:pt idx="0">
                  <c:v>107.1841727484326</c:v>
                </c:pt>
                <c:pt idx="1">
                  <c:v>111.8359678010378</c:v>
                </c:pt>
                <c:pt idx="2">
                  <c:v>99.165790580041318</c:v>
                </c:pt>
                <c:pt idx="3">
                  <c:v>107.1841727484326</c:v>
                </c:pt>
                <c:pt idx="4">
                  <c:v>111.8359678010378</c:v>
                </c:pt>
                <c:pt idx="5">
                  <c:v>99.16579058004131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ershey's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C$2:$C$7</c:f>
              <c:numCache>
                <c:formatCode>General</c:formatCode>
                <c:ptCount val="6"/>
                <c:pt idx="0">
                  <c:v>113.1472494991506</c:v>
                </c:pt>
                <c:pt idx="1">
                  <c:v>110.43492004860251</c:v>
                </c:pt>
                <c:pt idx="2">
                  <c:v>99.144606754943084</c:v>
                </c:pt>
                <c:pt idx="3">
                  <c:v>113.1472494991506</c:v>
                </c:pt>
                <c:pt idx="4">
                  <c:v>110.43492004860251</c:v>
                </c:pt>
                <c:pt idx="5">
                  <c:v>99.14460675494308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ershey's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ershey's Cookies 'n Creme Block 90g @7.95</c:v>
                </c:pt>
                <c:pt idx="1">
                  <c:v>Hershey's Cookies 'n Creme Creations Salted Caramel 38g @3.95</c:v>
                </c:pt>
                <c:pt idx="2">
                  <c:v>Hershey's Cookies 'n Creme 40Gx 4 @12.95</c:v>
                </c:pt>
                <c:pt idx="3">
                  <c:v>Hershey's Cookies 'n Creme Block</c:v>
                </c:pt>
                <c:pt idx="4">
                  <c:v>Hershey's Cookies 'n Creme Creations Salted Caramel</c:v>
                </c:pt>
                <c:pt idx="5">
                  <c:v>Hershey's Cookies 'n Creme 40Gx</c:v>
                </c:pt>
              </c:strCache>
            </c:strRef>
          </c:cat>
          <c:val>
            <c:numRef>
              <c:f>Sheet1!$D$2:$D$7</c:f>
              <c:numCache>
                <c:formatCode>General</c:formatCode>
                <c:ptCount val="6"/>
                <c:pt idx="0">
                  <c:v>119.28565403285531</c:v>
                </c:pt>
                <c:pt idx="1">
                  <c:v>115.6285998391443</c:v>
                </c:pt>
                <c:pt idx="2">
                  <c:v>99.13410097191705</c:v>
                </c:pt>
                <c:pt idx="3">
                  <c:v>119.28565403285531</c:v>
                </c:pt>
                <c:pt idx="4">
                  <c:v>115.6285998391443</c:v>
                </c:pt>
                <c:pt idx="5">
                  <c:v>99.134100971917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Hershey's Cookies 'n Creme Block 9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8.3680830643657791E-2</c:v>
                </c:pt>
                <c:pt idx="1">
                  <c:v>8.4832717379492509E-2</c:v>
                </c:pt>
                <c:pt idx="2">
                  <c:v>6.972508654231116E-2</c:v>
                </c:pt>
                <c:pt idx="3">
                  <c:v>7.265896809008994E-2</c:v>
                </c:pt>
                <c:pt idx="4">
                  <c:v>2.6867333324909211E-2</c:v>
                </c:pt>
                <c:pt idx="5">
                  <c:v>3.2846571323964111E-2</c:v>
                </c:pt>
                <c:pt idx="6">
                  <c:v>2.9692361061533581E-2</c:v>
                </c:pt>
                <c:pt idx="7">
                  <c:v>2.4673524627930769E-2</c:v>
                </c:pt>
                <c:pt idx="8">
                  <c:v>2.4801210223196219E-2</c:v>
                </c:pt>
                <c:pt idx="9">
                  <c:v>1.6946024595636509E-2</c:v>
                </c:pt>
                <c:pt idx="10">
                  <c:v>1.97443309719957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Hershey's Cookies 'n Creme Creations Salted Caramel 38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5.0447854226814207E-2</c:v>
                </c:pt>
                <c:pt idx="1">
                  <c:v>7.9671669867510259E-2</c:v>
                </c:pt>
                <c:pt idx="2">
                  <c:v>9.5243035433779294E-2</c:v>
                </c:pt>
                <c:pt idx="3">
                  <c:v>4.6930023952282761E-2</c:v>
                </c:pt>
                <c:pt idx="4">
                  <c:v>5.3986451383998227E-2</c:v>
                </c:pt>
                <c:pt idx="5">
                  <c:v>3.9307564557694179E-2</c:v>
                </c:pt>
                <c:pt idx="6">
                  <c:v>1.564990410618107E-2</c:v>
                </c:pt>
                <c:pt idx="7">
                  <c:v>3.8296802999407388E-2</c:v>
                </c:pt>
                <c:pt idx="8">
                  <c:v>1.260545269416481E-2</c:v>
                </c:pt>
                <c:pt idx="9">
                  <c:v>2.5391227092504961E-2</c:v>
                </c:pt>
                <c:pt idx="10">
                  <c:v>1.8423164832667101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ershey's Cookies 'n Creme 40Gx 4</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pt idx="0">
                  <c:v>0.144625596426422</c:v>
                </c:pt>
                <c:pt idx="1">
                  <c:v>7.3709483938171463E-2</c:v>
                </c:pt>
                <c:pt idx="2">
                  <c:v>7.0107128669837274E-2</c:v>
                </c:pt>
                <c:pt idx="3">
                  <c:v>5.5930863438467572E-2</c:v>
                </c:pt>
                <c:pt idx="4">
                  <c:v>4.1193482742225562E-2</c:v>
                </c:pt>
                <c:pt idx="5">
                  <c:v>3.1577164777321309E-2</c:v>
                </c:pt>
                <c:pt idx="6">
                  <c:v>4.8101004071141019E-2</c:v>
                </c:pt>
                <c:pt idx="7">
                  <c:v>3.0212086643940799E-2</c:v>
                </c:pt>
                <c:pt idx="8">
                  <c:v>3.3038799269343028E-2</c:v>
                </c:pt>
                <c:pt idx="9">
                  <c:v>2.5012729873956439E-2</c:v>
                </c:pt>
                <c:pt idx="10">
                  <c:v>2.2428122238729871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Block 9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Block 90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Creations Salted Caramel 38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472496097121558E-2</c:v>
                </c:pt>
                <c:pt idx="1">
                  <c:v>5.7538947324104119E-2</c:v>
                </c:pt>
                <c:pt idx="2">
                  <c:v>5.2433248127097418E-2</c:v>
                </c:pt>
                <c:pt idx="3">
                  <c:v>5.2427028090236263E-2</c:v>
                </c:pt>
                <c:pt idx="4">
                  <c:v>4.8702496145713738E-2</c:v>
                </c:pt>
                <c:pt idx="5">
                  <c:v>3.984530703204197E-2</c:v>
                </c:pt>
                <c:pt idx="6">
                  <c:v>2.9281333941963E-2</c:v>
                </c:pt>
                <c:pt idx="7">
                  <c:v>2.7690668434504601E-2</c:v>
                </c:pt>
                <c:pt idx="8">
                  <c:v>2.5210000455187748E-2</c:v>
                </c:pt>
                <c:pt idx="9">
                  <c:v>2.4943187003251179E-2</c:v>
                </c:pt>
                <c:pt idx="10">
                  <c:v>2.4410882866364541E-2</c:v>
                </c:pt>
                <c:pt idx="11">
                  <c:v>2.431449668967391E-2</c:v>
                </c:pt>
                <c:pt idx="12">
                  <c:v>2.2624836421410909E-2</c:v>
                </c:pt>
                <c:pt idx="13">
                  <c:v>2.240126222098935E-2</c:v>
                </c:pt>
                <c:pt idx="14">
                  <c:v>2.1312383520667021E-2</c:v>
                </c:pt>
                <c:pt idx="15">
                  <c:v>2.0948557967625781E-2</c:v>
                </c:pt>
                <c:pt idx="16">
                  <c:v>2.0802759209870909E-2</c:v>
                </c:pt>
                <c:pt idx="17">
                  <c:v>1.796715545025266E-2</c:v>
                </c:pt>
                <c:pt idx="18">
                  <c:v>1.6841617507406651E-2</c:v>
                </c:pt>
                <c:pt idx="19">
                  <c:v>1.595185798501797E-2</c:v>
                </c:pt>
                <c:pt idx="20">
                  <c:v>1.5133684418223889E-2</c:v>
                </c:pt>
                <c:pt idx="21">
                  <c:v>1.4607463502544641E-2</c:v>
                </c:pt>
                <c:pt idx="22">
                  <c:v>1.4327795755228641E-2</c:v>
                </c:pt>
                <c:pt idx="23">
                  <c:v>1.4300496139580759E-2</c:v>
                </c:pt>
                <c:pt idx="24">
                  <c:v>1.428543080773065E-2</c:v>
                </c:pt>
                <c:pt idx="25">
                  <c:v>1.4034261062238269E-2</c:v>
                </c:pt>
                <c:pt idx="26">
                  <c:v>1.329639293211704E-2</c:v>
                </c:pt>
                <c:pt idx="27">
                  <c:v>1.2785194916348211E-2</c:v>
                </c:pt>
                <c:pt idx="28">
                  <c:v>1.1550390621815201E-2</c:v>
                </c:pt>
                <c:pt idx="29">
                  <c:v>1.1357457804435761E-2</c:v>
                </c:pt>
                <c:pt idx="30">
                  <c:v>1.086426231323109E-2</c:v>
                </c:pt>
                <c:pt idx="31">
                  <c:v>1.0480589734489711E-2</c:v>
                </c:pt>
                <c:pt idx="32">
                  <c:v>1.0430399563066959E-2</c:v>
                </c:pt>
                <c:pt idx="33">
                  <c:v>1.020525301098122E-2</c:v>
                </c:pt>
                <c:pt idx="34">
                  <c:v>9.9953769134242237E-3</c:v>
                </c:pt>
                <c:pt idx="35">
                  <c:v>9.681768078509994E-3</c:v>
                </c:pt>
                <c:pt idx="36">
                  <c:v>9.4015158630799279E-3</c:v>
                </c:pt>
                <c:pt idx="37">
                  <c:v>8.0950411657840678E-3</c:v>
                </c:pt>
                <c:pt idx="38">
                  <c:v>7.5484160737205926E-3</c:v>
                </c:pt>
                <c:pt idx="39">
                  <c:v>7.4456816552401391E-3</c:v>
                </c:pt>
                <c:pt idx="40">
                  <c:v>7.2259315698773264E-3</c:v>
                </c:pt>
                <c:pt idx="41">
                  <c:v>7.1656336772027091E-3</c:v>
                </c:pt>
                <c:pt idx="42">
                  <c:v>6.7758356553924001E-3</c:v>
                </c:pt>
                <c:pt idx="43">
                  <c:v>6.6474385250116421E-3</c:v>
                </c:pt>
                <c:pt idx="44">
                  <c:v>6.5896804076022017E-3</c:v>
                </c:pt>
                <c:pt idx="45">
                  <c:v>6.1115357976134982E-3</c:v>
                </c:pt>
                <c:pt idx="46">
                  <c:v>5.451110043885531E-3</c:v>
                </c:pt>
                <c:pt idx="47">
                  <c:v>5.4366567437936376E-3</c:v>
                </c:pt>
                <c:pt idx="48">
                  <c:v>5.0655794386848208E-3</c:v>
                </c:pt>
                <c:pt idx="49">
                  <c:v>4.8777439605028356E-3</c:v>
                </c:pt>
                <c:pt idx="50">
                  <c:v>4.8173841850306202E-3</c:v>
                </c:pt>
                <c:pt idx="51">
                  <c:v>4.757078936432276E-3</c:v>
                </c:pt>
                <c:pt idx="52">
                  <c:v>4.6073366062554071E-3</c:v>
                </c:pt>
                <c:pt idx="53">
                  <c:v>4.4996529359943851E-3</c:v>
                </c:pt>
                <c:pt idx="54">
                  <c:v>4.3987723156036279E-3</c:v>
                </c:pt>
                <c:pt idx="55">
                  <c:v>4.0273573708384863E-3</c:v>
                </c:pt>
                <c:pt idx="56">
                  <c:v>3.9203779776991127E-3</c:v>
                </c:pt>
                <c:pt idx="57">
                  <c:v>3.4968857436555559E-3</c:v>
                </c:pt>
                <c:pt idx="58">
                  <c:v>3.318392300390517E-3</c:v>
                </c:pt>
                <c:pt idx="59">
                  <c:v>2.7099351522742849E-3</c:v>
                </c:pt>
                <c:pt idx="60">
                  <c:v>2.541972149100086E-3</c:v>
                </c:pt>
                <c:pt idx="61">
                  <c:v>2.4365023024946779E-3</c:v>
                </c:pt>
                <c:pt idx="62">
                  <c:v>2.4242122973904402E-3</c:v>
                </c:pt>
                <c:pt idx="63">
                  <c:v>2.1546631701556051E-3</c:v>
                </c:pt>
                <c:pt idx="64">
                  <c:v>1.6539174754250411E-3</c:v>
                </c:pt>
                <c:pt idx="65">
                  <c:v>1.533100664626598E-3</c:v>
                </c:pt>
                <c:pt idx="66">
                  <c:v>1.2803795821592181E-3</c:v>
                </c:pt>
                <c:pt idx="67">
                  <c:v>7.8328664731944621E-4</c:v>
                </c:pt>
                <c:pt idx="68">
                  <c:v>2.7127970870976262E-4</c:v>
                </c:pt>
                <c:pt idx="69">
                  <c:v>7.297183658610162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40Gx 4</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Ferrero Rocher 200g</c:v>
                </c:pt>
                <c:pt idx="24">
                  <c:v>Kinder Maxi Chocolate 21gx11 (10+1)</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Hershey's Cookies 'n Creme 40Gx 4</c:v>
                </c:pt>
                <c:pt idx="58">
                  <c:v>Galaxy Smooth Milk Chocolate 80g</c:v>
                </c:pt>
                <c:pt idx="59">
                  <c:v>Galaxy Ripple Bar 33g</c:v>
                </c:pt>
                <c:pt idx="60">
                  <c:v>Hershey's Chocobites Cookies 'n Creme 90g</c:v>
                </c:pt>
                <c:pt idx="61">
                  <c:v>Hershey's Kisses Special Selection Assorted 100g</c:v>
                </c:pt>
                <c:pt idx="62">
                  <c:v>Hershey's Chocobites Salted Caramel 81g</c:v>
                </c:pt>
                <c:pt idx="63">
                  <c:v>Hershey's Cookies N' Chocolate 40g</c:v>
                </c:pt>
                <c:pt idx="64">
                  <c:v>Reeses Block 90g</c:v>
                </c:pt>
                <c:pt idx="65">
                  <c:v>Reeses Nut Bar 47g</c:v>
                </c:pt>
                <c:pt idx="66">
                  <c:v>Hershey's Kisses Classic Selection Assorted 100g</c:v>
                </c:pt>
                <c:pt idx="67">
                  <c:v>Hershey's Cookies N' Crème 12.76g</c:v>
                </c:pt>
                <c:pt idx="68">
                  <c:v> Reeses Wafer Sticks 42g</c:v>
                </c:pt>
                <c:pt idx="69">
                  <c:v>Hershey's Choco Tubes Cookies N' Creme 18g</c:v>
                </c:pt>
                <c:pt idx="70">
                  <c:v>Reeses Pieces 180g</c:v>
                </c:pt>
                <c:pt idx="71">
                  <c:v>Reeses Mini King Size 71g</c:v>
                </c:pt>
                <c:pt idx="72">
                  <c:v>Hershey's Cookies 'n Creme Creations Salted Caramel 38g</c:v>
                </c:pt>
                <c:pt idx="73">
                  <c:v>Hershey's Cookies 'n Creme Block 90g</c:v>
                </c:pt>
                <c:pt idx="74">
                  <c:v> Reeses Peanut Butter Cup Mini 500G</c:v>
                </c:pt>
                <c:pt idx="75">
                  <c:v>Hersheys Kisses Classic Selection Assorted 600G</c:v>
                </c:pt>
                <c:pt idx="76">
                  <c:v>Hershey's Variety Pack 40Gx3</c:v>
                </c:pt>
                <c:pt idx="77">
                  <c:v>Reeses Fast break 51g</c:v>
                </c:pt>
              </c:strCache>
            </c:strRef>
          </c:cat>
          <c:val>
            <c:numRef>
              <c:f>Sheet1!$B$2:$B$79</c:f>
              <c:numCache>
                <c:formatCode>General</c:formatCode>
                <c:ptCount val="78"/>
                <c:pt idx="0">
                  <c:v>8.7043629382212662E-2</c:v>
                </c:pt>
                <c:pt idx="1">
                  <c:v>5.7448254219214227E-2</c:v>
                </c:pt>
                <c:pt idx="2">
                  <c:v>5.2318988778503661E-2</c:v>
                </c:pt>
                <c:pt idx="3">
                  <c:v>5.2256472326913307E-2</c:v>
                </c:pt>
                <c:pt idx="4">
                  <c:v>4.8584225656166963E-2</c:v>
                </c:pt>
                <c:pt idx="5">
                  <c:v>3.9680743757639463E-2</c:v>
                </c:pt>
                <c:pt idx="6">
                  <c:v>2.9190658329038801E-2</c:v>
                </c:pt>
                <c:pt idx="7">
                  <c:v>2.7681917689682881E-2</c:v>
                </c:pt>
                <c:pt idx="8">
                  <c:v>2.513899586928656E-2</c:v>
                </c:pt>
                <c:pt idx="9">
                  <c:v>2.4890536077445059E-2</c:v>
                </c:pt>
                <c:pt idx="10">
                  <c:v>2.4344382000445201E-2</c:v>
                </c:pt>
                <c:pt idx="11">
                  <c:v>2.4239521796033451E-2</c:v>
                </c:pt>
                <c:pt idx="12">
                  <c:v>2.25895581009995E-2</c:v>
                </c:pt>
                <c:pt idx="13">
                  <c:v>2.2261008252674359E-2</c:v>
                </c:pt>
                <c:pt idx="14">
                  <c:v>2.1303629133662901E-2</c:v>
                </c:pt>
                <c:pt idx="15">
                  <c:v>2.0930028427272349E-2</c:v>
                </c:pt>
                <c:pt idx="16">
                  <c:v>2.0722378953069099E-2</c:v>
                </c:pt>
                <c:pt idx="17">
                  <c:v>1.79402528779639E-2</c:v>
                </c:pt>
                <c:pt idx="18">
                  <c:v>1.6768501477137959E-2</c:v>
                </c:pt>
                <c:pt idx="19">
                  <c:v>1.5907968576700571E-2</c:v>
                </c:pt>
                <c:pt idx="20">
                  <c:v>1.5132426772325959E-2</c:v>
                </c:pt>
                <c:pt idx="21">
                  <c:v>1.457716780008899E-2</c:v>
                </c:pt>
                <c:pt idx="22">
                  <c:v>1.428979902205051E-2</c:v>
                </c:pt>
                <c:pt idx="23">
                  <c:v>1.4260023753352421E-2</c:v>
                </c:pt>
                <c:pt idx="24">
                  <c:v>1.4242653495047679E-2</c:v>
                </c:pt>
                <c:pt idx="25">
                  <c:v>1.4009948484647721E-2</c:v>
                </c:pt>
                <c:pt idx="26">
                  <c:v>1.327189776630075E-2</c:v>
                </c:pt>
                <c:pt idx="27">
                  <c:v>1.277080676064834E-2</c:v>
                </c:pt>
                <c:pt idx="28">
                  <c:v>1.154686376230785E-2</c:v>
                </c:pt>
                <c:pt idx="29">
                  <c:v>1.1356802272850099E-2</c:v>
                </c:pt>
                <c:pt idx="30">
                  <c:v>1.083713462610989E-2</c:v>
                </c:pt>
                <c:pt idx="31">
                  <c:v>1.0457247446923411E-2</c:v>
                </c:pt>
                <c:pt idx="32">
                  <c:v>1.0406169475892761E-2</c:v>
                </c:pt>
                <c:pt idx="33">
                  <c:v>1.019402791157778E-2</c:v>
                </c:pt>
                <c:pt idx="34">
                  <c:v>9.9678416198208646E-3</c:v>
                </c:pt>
                <c:pt idx="35">
                  <c:v>9.6601873747323187E-3</c:v>
                </c:pt>
                <c:pt idx="36">
                  <c:v>9.3903672027461412E-3</c:v>
                </c:pt>
                <c:pt idx="37">
                  <c:v>8.0659148911814693E-3</c:v>
                </c:pt>
                <c:pt idx="38">
                  <c:v>7.5338492821987197E-3</c:v>
                </c:pt>
                <c:pt idx="39">
                  <c:v>7.4340972771401804E-3</c:v>
                </c:pt>
                <c:pt idx="40">
                  <c:v>7.2228964784393666E-3</c:v>
                </c:pt>
                <c:pt idx="41">
                  <c:v>7.1647097013926584E-3</c:v>
                </c:pt>
                <c:pt idx="42">
                  <c:v>6.7417978009267987E-3</c:v>
                </c:pt>
                <c:pt idx="43">
                  <c:v>6.6461212904450192E-3</c:v>
                </c:pt>
                <c:pt idx="44">
                  <c:v>6.5873687630741886E-3</c:v>
                </c:pt>
                <c:pt idx="45">
                  <c:v>6.1105982334485687E-3</c:v>
                </c:pt>
                <c:pt idx="46">
                  <c:v>5.442700859727416E-3</c:v>
                </c:pt>
                <c:pt idx="47">
                  <c:v>5.4377176631436683E-3</c:v>
                </c:pt>
                <c:pt idx="48">
                  <c:v>5.0533333079540556E-3</c:v>
                </c:pt>
                <c:pt idx="49">
                  <c:v>4.8781338061636894E-3</c:v>
                </c:pt>
                <c:pt idx="50">
                  <c:v>4.8118320644420761E-3</c:v>
                </c:pt>
                <c:pt idx="51">
                  <c:v>4.754758877646573E-3</c:v>
                </c:pt>
                <c:pt idx="52">
                  <c:v>4.6018435860742616E-3</c:v>
                </c:pt>
                <c:pt idx="53">
                  <c:v>4.5036988919860462E-3</c:v>
                </c:pt>
                <c:pt idx="54">
                  <c:v>4.3867982266635082E-3</c:v>
                </c:pt>
                <c:pt idx="55">
                  <c:v>4.0218340674676974E-3</c:v>
                </c:pt>
                <c:pt idx="56">
                  <c:v>3.9201710183767091E-3</c:v>
                </c:pt>
                <c:pt idx="57">
                  <c:v>3.7061900184166409E-3</c:v>
                </c:pt>
                <c:pt idx="58">
                  <c:v>3.4958916104209938E-3</c:v>
                </c:pt>
                <c:pt idx="59">
                  <c:v>3.3190896613840659E-3</c:v>
                </c:pt>
                <c:pt idx="60">
                  <c:v>2.6956154020616259E-3</c:v>
                </c:pt>
                <c:pt idx="61">
                  <c:v>2.53527750664386E-3</c:v>
                </c:pt>
                <c:pt idx="62">
                  <c:v>2.4278900283566068E-3</c:v>
                </c:pt>
                <c:pt idx="63">
                  <c:v>2.425599799364974E-3</c:v>
                </c:pt>
                <c:pt idx="64">
                  <c:v>2.1535528869782322E-3</c:v>
                </c:pt>
                <c:pt idx="65">
                  <c:v>1.655361952609545E-3</c:v>
                </c:pt>
                <c:pt idx="66">
                  <c:v>1.5256000407128469E-3</c:v>
                </c:pt>
                <c:pt idx="67">
                  <c:v>7.824108492337985E-4</c:v>
                </c:pt>
                <c:pt idx="68">
                  <c:v>2.7146164527440977E-4</c:v>
                </c:pt>
                <c:pt idx="69">
                  <c:v>7.2865281163403636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ershey's Cookies 'n Creme Creations Salted Caramel 38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9</c:f>
              <c:strCache>
                <c:ptCount val="78"/>
                <c:pt idx="0">
                  <c:v>Galaxy Jewels 1.4kg</c:v>
                </c:pt>
                <c:pt idx="1">
                  <c:v>Ferrero Rocher 300g</c:v>
                </c:pt>
                <c:pt idx="2">
                  <c:v>Galaxy Smooth Milk Chocolate 36g x 24</c:v>
                </c:pt>
                <c:pt idx="3">
                  <c:v>Galaxy Jewels 900g</c:v>
                </c:pt>
                <c:pt idx="4">
                  <c:v>Galaxy Jewels 650g</c:v>
                </c:pt>
                <c:pt idx="5">
                  <c:v>Cadbury Dairy Milk Minis Selection 500g</c:v>
                </c:pt>
                <c:pt idx="6">
                  <c:v>Kit Kat 17.7g x 18</c:v>
                </c:pt>
                <c:pt idx="7">
                  <c:v>Kinder Bueno Milk&amp;Hazelnut 43g</c:v>
                </c:pt>
                <c:pt idx="8">
                  <c:v>Tiffany Break Supa 38gx12</c:v>
                </c:pt>
                <c:pt idx="9">
                  <c:v>Snickers 50gx6</c:v>
                </c:pt>
                <c:pt idx="10">
                  <c:v>Tiffany Break 24x15.5g</c:v>
                </c:pt>
                <c:pt idx="11">
                  <c:v>Tiffany Break Mini Fun 384g</c:v>
                </c:pt>
                <c:pt idx="12">
                  <c:v>Kinder Bueno Milk&amp;Hazelnut 43gx10</c:v>
                </c:pt>
                <c:pt idx="13">
                  <c:v>Mackintosh Quality Street Chocolate 600g</c:v>
                </c:pt>
                <c:pt idx="14">
                  <c:v>Snickers Bar 50g</c:v>
                </c:pt>
                <c:pt idx="15">
                  <c:v>Maltesers Chocolate 175g</c:v>
                </c:pt>
                <c:pt idx="16">
                  <c:v>Tiffany Break 31gx12</c:v>
                </c:pt>
                <c:pt idx="17">
                  <c:v>Tiffany Break Delight 25gx12</c:v>
                </c:pt>
                <c:pt idx="18">
                  <c:v>Snickers Minis Bag 252g</c:v>
                </c:pt>
                <c:pt idx="19">
                  <c:v>Cadbury Miniatures Box 400g</c:v>
                </c:pt>
                <c:pt idx="20">
                  <c:v>Bounty Bar 57g</c:v>
                </c:pt>
                <c:pt idx="21">
                  <c:v>Galaxy Smooth Milk Minis 237.5g</c:v>
                </c:pt>
                <c:pt idx="22">
                  <c:v>Bounty Bar 57g x 5</c:v>
                </c:pt>
                <c:pt idx="23">
                  <c:v>Kinder Maxi Chocolate 21gx11 (10+1)</c:v>
                </c:pt>
                <c:pt idx="24">
                  <c:v>Ferrero Rocher 200g</c:v>
                </c:pt>
                <c:pt idx="25">
                  <c:v>Ferrero Raffaello 150g box </c:v>
                </c:pt>
                <c:pt idx="26">
                  <c:v>Galaxy Hazelnut Minis 237.5g</c:v>
                </c:pt>
                <c:pt idx="27">
                  <c:v>Twix 50gx5</c:v>
                </c:pt>
                <c:pt idx="28">
                  <c:v>Twix Bar 50g</c:v>
                </c:pt>
                <c:pt idx="29">
                  <c:v>Maltesers Chocolate 37g</c:v>
                </c:pt>
                <c:pt idx="30">
                  <c:v>Snickers Miniatures 150g</c:v>
                </c:pt>
                <c:pt idx="31">
                  <c:v>Cadbury Flake Minis Bag 159.5g</c:v>
                </c:pt>
                <c:pt idx="32">
                  <c:v>M&amp;M's Peanut 165g</c:v>
                </c:pt>
                <c:pt idx="33">
                  <c:v>Twix Miniatures 150g</c:v>
                </c:pt>
                <c:pt idx="34">
                  <c:v>Cadbury Timeout Minis Wafer 247.2g</c:v>
                </c:pt>
                <c:pt idx="35">
                  <c:v>Toblerone Milk Chocolate 200g</c:v>
                </c:pt>
                <c:pt idx="36">
                  <c:v>Galaxy Smooth Milk Minis 162.5g</c:v>
                </c:pt>
                <c:pt idx="37">
                  <c:v>Mars 45g x 6</c:v>
                </c:pt>
                <c:pt idx="38">
                  <c:v>Bounty Miniatures 150g</c:v>
                </c:pt>
                <c:pt idx="39">
                  <c:v>Kinder Chocolate Bar 8x12.5g</c:v>
                </c:pt>
                <c:pt idx="40">
                  <c:v>Galaxy Smooth Dark Chocolate 40g</c:v>
                </c:pt>
                <c:pt idx="41">
                  <c:v>Mars Bar 51g </c:v>
                </c:pt>
                <c:pt idx="42">
                  <c:v>Hershey's Kisses Special Selection Assorted 325g</c:v>
                </c:pt>
                <c:pt idx="43">
                  <c:v>Galaxy Hazelnut Chocolate 36g</c:v>
                </c:pt>
                <c:pt idx="44">
                  <c:v>Galaxy Smooth Milk Chocolate 36g</c:v>
                </c:pt>
                <c:pt idx="45">
                  <c:v>Galaxy Caramel Bar 40g</c:v>
                </c:pt>
                <c:pt idx="46">
                  <c:v>Kinder Chocolate Bar 50g</c:v>
                </c:pt>
                <c:pt idx="47">
                  <c:v>Kinder Bueno White 39g</c:v>
                </c:pt>
                <c:pt idx="48">
                  <c:v>Hershey's Kisses Classic Selection Assorted 325g</c:v>
                </c:pt>
                <c:pt idx="49">
                  <c:v>Galaxy Crispy Milk Chocolate 36g</c:v>
                </c:pt>
                <c:pt idx="50">
                  <c:v> Reeses Peanut Butter Cup Mini 340g </c:v>
                </c:pt>
                <c:pt idx="51">
                  <c:v>Kit Kat 17.7g</c:v>
                </c:pt>
                <c:pt idx="52">
                  <c:v> Reeses Peanut Butter Cup 42g x 6</c:v>
                </c:pt>
                <c:pt idx="53">
                  <c:v>Reeses Peanut Butter Cups 46g</c:v>
                </c:pt>
                <c:pt idx="54">
                  <c:v>Reeses Peanut Butter Cup Mini 215g</c:v>
                </c:pt>
                <c:pt idx="55">
                  <c:v>M&amp;M's Milk Chocolate 30.6g</c:v>
                </c:pt>
                <c:pt idx="56">
                  <c:v>Godiva Double Chocolate Bar 35g</c:v>
                </c:pt>
                <c:pt idx="57">
                  <c:v>Galaxy Smooth Milk Chocolate 80g</c:v>
                </c:pt>
                <c:pt idx="58">
                  <c:v>Galaxy Ripple Bar 33g</c:v>
                </c:pt>
                <c:pt idx="59">
                  <c:v>Hershey's Chocobites Cookies 'n Creme 90g</c:v>
                </c:pt>
                <c:pt idx="60">
                  <c:v>Hershey's Kisses Special Selection Assorted 100g</c:v>
                </c:pt>
                <c:pt idx="61">
                  <c:v>Hershey's Chocobites Salted Caramel 81g</c:v>
                </c:pt>
                <c:pt idx="62">
                  <c:v>Hershey's Cookies N' Chocolate 40g</c:v>
                </c:pt>
                <c:pt idx="63">
                  <c:v>Reeses Block 90g</c:v>
                </c:pt>
                <c:pt idx="64">
                  <c:v>Reeses Nut Bar 47g</c:v>
                </c:pt>
                <c:pt idx="65">
                  <c:v>Hershey's Kisses Classic Selection Assorted 100g</c:v>
                </c:pt>
                <c:pt idx="66">
                  <c:v>Hershey's Cookies 'n Creme Creations Salted Caramel 38g</c:v>
                </c:pt>
                <c:pt idx="67">
                  <c:v>Hershey's Cookies N' Crème 12.76g</c:v>
                </c:pt>
                <c:pt idx="68">
                  <c:v> Reeses Wafer Sticks 42g</c:v>
                </c:pt>
                <c:pt idx="69">
                  <c:v>Hershey's Choco Tubes Cookies N' Creme 18g</c:v>
                </c:pt>
                <c:pt idx="70">
                  <c:v> Reeses Peanut Butter Cup Mini 500G</c:v>
                </c:pt>
                <c:pt idx="71">
                  <c:v>Reeses Pieces 180g</c:v>
                </c:pt>
                <c:pt idx="72">
                  <c:v>Reeses Mini King Size 71g</c:v>
                </c:pt>
                <c:pt idx="73">
                  <c:v>Hershey's Cookies 'n Creme Block 90g</c:v>
                </c:pt>
                <c:pt idx="74">
                  <c:v>Hersheys Kisses Classic Selection Assorted 600G</c:v>
                </c:pt>
                <c:pt idx="75">
                  <c:v>Hershey's Cookies 'n Creme 40Gx 4</c:v>
                </c:pt>
                <c:pt idx="76">
                  <c:v>Hershey's Variety Pack 40Gx3</c:v>
                </c:pt>
                <c:pt idx="77">
                  <c:v>Reeses Fast break 51g</c:v>
                </c:pt>
              </c:strCache>
            </c:strRef>
          </c:cat>
          <c:val>
            <c:numRef>
              <c:f>Sheet1!$B$2:$B$79</c:f>
              <c:numCache>
                <c:formatCode>General</c:formatCode>
                <c:ptCount val="78"/>
                <c:pt idx="0">
                  <c:v>8.7534810601232665E-2</c:v>
                </c:pt>
                <c:pt idx="1">
                  <c:v>5.7559500892221442E-2</c:v>
                </c:pt>
                <c:pt idx="2">
                  <c:v>5.2484576460387768E-2</c:v>
                </c:pt>
                <c:pt idx="3">
                  <c:v>5.2431668272041182E-2</c:v>
                </c:pt>
                <c:pt idx="4">
                  <c:v>4.868892335715206E-2</c:v>
                </c:pt>
                <c:pt idx="5">
                  <c:v>3.9883127665807053E-2</c:v>
                </c:pt>
                <c:pt idx="6">
                  <c:v>2.9310751584451511E-2</c:v>
                </c:pt>
                <c:pt idx="7">
                  <c:v>2.7693958481604788E-2</c:v>
                </c:pt>
                <c:pt idx="8">
                  <c:v>2.520913477236672E-2</c:v>
                </c:pt>
                <c:pt idx="9">
                  <c:v>2.4955217813546149E-2</c:v>
                </c:pt>
                <c:pt idx="10">
                  <c:v>2.4411629377003408E-2</c:v>
                </c:pt>
                <c:pt idx="11">
                  <c:v>2.432162347521807E-2</c:v>
                </c:pt>
                <c:pt idx="12">
                  <c:v>2.2631346863859841E-2</c:v>
                </c:pt>
                <c:pt idx="13">
                  <c:v>2.2425372973408079E-2</c:v>
                </c:pt>
                <c:pt idx="14">
                  <c:v>2.1309215636296241E-2</c:v>
                </c:pt>
                <c:pt idx="15">
                  <c:v>2.0959753622360241E-2</c:v>
                </c:pt>
                <c:pt idx="16">
                  <c:v>2.0800319571241239E-2</c:v>
                </c:pt>
                <c:pt idx="17">
                  <c:v>1.7970810967835201E-2</c:v>
                </c:pt>
                <c:pt idx="18">
                  <c:v>1.6850758622753849E-2</c:v>
                </c:pt>
                <c:pt idx="19">
                  <c:v>1.596269816570935E-2</c:v>
                </c:pt>
                <c:pt idx="20">
                  <c:v>1.5112238409568249E-2</c:v>
                </c:pt>
                <c:pt idx="21">
                  <c:v>1.461542990237732E-2</c:v>
                </c:pt>
                <c:pt idx="22">
                  <c:v>1.4334284118613001E-2</c:v>
                </c:pt>
                <c:pt idx="23">
                  <c:v>1.430940527615138E-2</c:v>
                </c:pt>
                <c:pt idx="24">
                  <c:v>1.4289080781313281E-2</c:v>
                </c:pt>
                <c:pt idx="25">
                  <c:v>1.403814668354727E-2</c:v>
                </c:pt>
                <c:pt idx="26">
                  <c:v>1.330105136333818E-2</c:v>
                </c:pt>
                <c:pt idx="27">
                  <c:v>1.279435495102535E-2</c:v>
                </c:pt>
                <c:pt idx="28">
                  <c:v>1.1555834851677259E-2</c:v>
                </c:pt>
                <c:pt idx="29">
                  <c:v>1.1353549481144559E-2</c:v>
                </c:pt>
                <c:pt idx="30">
                  <c:v>1.086773292425431E-2</c:v>
                </c:pt>
                <c:pt idx="31">
                  <c:v>1.0487758880938881E-2</c:v>
                </c:pt>
                <c:pt idx="32">
                  <c:v>1.043360818931305E-2</c:v>
                </c:pt>
                <c:pt idx="33">
                  <c:v>1.021010493667055E-2</c:v>
                </c:pt>
                <c:pt idx="34">
                  <c:v>1.0000357436865779E-2</c:v>
                </c:pt>
                <c:pt idx="35">
                  <c:v>9.6856196504729163E-3</c:v>
                </c:pt>
                <c:pt idx="36">
                  <c:v>9.406623878718887E-3</c:v>
                </c:pt>
                <c:pt idx="37">
                  <c:v>8.1035583272461749E-3</c:v>
                </c:pt>
                <c:pt idx="38">
                  <c:v>7.5495692266556828E-3</c:v>
                </c:pt>
                <c:pt idx="39">
                  <c:v>7.4420449325245048E-3</c:v>
                </c:pt>
                <c:pt idx="40">
                  <c:v>7.2277216112720663E-3</c:v>
                </c:pt>
                <c:pt idx="41">
                  <c:v>7.1673392735173798E-3</c:v>
                </c:pt>
                <c:pt idx="42">
                  <c:v>6.7869153080573506E-3</c:v>
                </c:pt>
                <c:pt idx="43">
                  <c:v>6.6451374901548904E-3</c:v>
                </c:pt>
                <c:pt idx="44">
                  <c:v>6.5885098340167552E-3</c:v>
                </c:pt>
                <c:pt idx="45">
                  <c:v>6.1118889102816784E-3</c:v>
                </c:pt>
                <c:pt idx="46">
                  <c:v>5.4493931229054396E-3</c:v>
                </c:pt>
                <c:pt idx="47">
                  <c:v>5.4360110602241834E-3</c:v>
                </c:pt>
                <c:pt idx="48">
                  <c:v>5.072109933842715E-3</c:v>
                </c:pt>
                <c:pt idx="49">
                  <c:v>4.8778405380791113E-3</c:v>
                </c:pt>
                <c:pt idx="50">
                  <c:v>4.8293537084955207E-3</c:v>
                </c:pt>
                <c:pt idx="51">
                  <c:v>4.756436351299226E-3</c:v>
                </c:pt>
                <c:pt idx="52">
                  <c:v>4.6147312769180401E-3</c:v>
                </c:pt>
                <c:pt idx="53">
                  <c:v>4.5051743706602341E-3</c:v>
                </c:pt>
                <c:pt idx="54">
                  <c:v>4.4076916789279564E-3</c:v>
                </c:pt>
                <c:pt idx="55">
                  <c:v>4.0239190321588224E-3</c:v>
                </c:pt>
                <c:pt idx="56">
                  <c:v>3.9206240800433037E-3</c:v>
                </c:pt>
                <c:pt idx="57">
                  <c:v>3.4990833523240289E-3</c:v>
                </c:pt>
                <c:pt idx="58">
                  <c:v>3.3187734201093398E-3</c:v>
                </c:pt>
                <c:pt idx="59">
                  <c:v>2.7137303220649859E-3</c:v>
                </c:pt>
                <c:pt idx="60">
                  <c:v>2.541702375438945E-3</c:v>
                </c:pt>
                <c:pt idx="61">
                  <c:v>2.4340625382641319E-3</c:v>
                </c:pt>
                <c:pt idx="62">
                  <c:v>2.4219716916852839E-3</c:v>
                </c:pt>
                <c:pt idx="63">
                  <c:v>2.1593638402186001E-3</c:v>
                </c:pt>
                <c:pt idx="64">
                  <c:v>1.6564163558322471E-3</c:v>
                </c:pt>
                <c:pt idx="65">
                  <c:v>1.534050800512053E-3</c:v>
                </c:pt>
                <c:pt idx="66">
                  <c:v>8.8861505707664911E-4</c:v>
                </c:pt>
                <c:pt idx="67">
                  <c:v>7.8139805979037706E-4</c:v>
                </c:pt>
                <c:pt idx="68">
                  <c:v>2.7164883385527279E-4</c:v>
                </c:pt>
                <c:pt idx="69">
                  <c:v>7.2832393059720158E-5</c:v>
                </c:pt>
                <c:pt idx="70">
                  <c:v>0</c:v>
                </c:pt>
                <c:pt idx="71">
                  <c:v>0</c:v>
                </c:pt>
                <c:pt idx="72">
                  <c:v>0</c:v>
                </c:pt>
                <c:pt idx="73">
                  <c:v>0</c:v>
                </c:pt>
                <c:pt idx="74">
                  <c:v>0</c:v>
                </c:pt>
                <c:pt idx="75">
                  <c:v>0</c:v>
                </c:pt>
                <c:pt idx="76">
                  <c:v>0</c:v>
                </c:pt>
                <c:pt idx="77">
                  <c:v>0</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7</a:t>
            </a:fld>
            <a:endParaRPr lang="en-CH"/>
          </a:p>
        </p:txBody>
      </p:sp>
    </p:spTree>
    <p:extLst>
      <p:ext uri="{BB962C8B-B14F-4D97-AF65-F5344CB8AC3E}">
        <p14:creationId xmlns:p14="http://schemas.microsoft.com/office/powerpoint/2010/main" val="1700127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oleObject" Target="../embeddings/oleObject28.bin"/><Relationship Id="rId7" Type="http://schemas.openxmlformats.org/officeDocument/2006/relationships/chart" Target="../charts/chart13.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5.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6.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2.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28.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oleObject" Target="../embeddings/oleObject28.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28.bin"/><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 Id="rId9"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225609"/>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926137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741581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84321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49408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27033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58525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9/10/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r>
              <a:rPr lang="en-US" dirty="0"/>
              <a:t>Innovation Potential when introducing each innovation one by one | Panda | </a:t>
            </a:r>
            <a:r>
              <a:rPr lang="en-US" dirty="0" err="1"/>
              <a:t>Cookies'n</a:t>
            </a:r>
            <a:r>
              <a:rPr lang="en-US" dirty="0"/>
              <a:t> Creme innov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32" rtl="0" eaLnBrk="1" fontAlgn="auto" latinLnBrk="0" hangingPunct="1">
              <a:lnSpc>
                <a:spcPct val="15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WD assumption = 50%</a:t>
            </a:r>
            <a:endParaRPr kumimoji="0" lang="en-CH" sz="800" b="1" i="0" u="none" strike="noStrike" kern="1200" cap="none" spc="0" normalizeH="0" baseline="0" noProof="0" dirty="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endParaRP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31"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127760">
                  <a:extLst>
                    <a:ext uri="{9D8B030D-6E8A-4147-A177-3AD203B41FA5}">
                      <a16:colId xmlns:a16="http://schemas.microsoft.com/office/drawing/2014/main" val="4292788590"/>
                    </a:ext>
                  </a:extLst>
                </a:gridCol>
                <a:gridCol w="1179195">
                  <a:extLst>
                    <a:ext uri="{9D8B030D-6E8A-4147-A177-3AD203B41FA5}">
                      <a16:colId xmlns:a16="http://schemas.microsoft.com/office/drawing/2014/main" val="401539003"/>
                    </a:ext>
                  </a:extLst>
                </a:gridCol>
                <a:gridCol w="1174433">
                  <a:extLst>
                    <a:ext uri="{9D8B030D-6E8A-4147-A177-3AD203B41FA5}">
                      <a16:colId xmlns:a16="http://schemas.microsoft.com/office/drawing/2014/main" val="138763722"/>
                    </a:ext>
                  </a:extLst>
                </a:gridCol>
                <a:gridCol w="1174433">
                  <a:extLst>
                    <a:ext uri="{9D8B030D-6E8A-4147-A177-3AD203B41FA5}">
                      <a16:colId xmlns:a16="http://schemas.microsoft.com/office/drawing/2014/main" val="2633844746"/>
                    </a:ext>
                  </a:extLst>
                </a:gridCol>
                <a:gridCol w="1185863">
                  <a:extLst>
                    <a:ext uri="{9D8B030D-6E8A-4147-A177-3AD203B41FA5}">
                      <a16:colId xmlns:a16="http://schemas.microsoft.com/office/drawing/2014/main" val="2595269352"/>
                    </a:ext>
                  </a:extLst>
                </a:gridCol>
                <a:gridCol w="1173000">
                  <a:extLst>
                    <a:ext uri="{9D8B030D-6E8A-4147-A177-3AD203B41FA5}">
                      <a16:colId xmlns:a16="http://schemas.microsoft.com/office/drawing/2014/main" val="1510539967"/>
                    </a:ext>
                  </a:extLst>
                </a:gridCol>
              </a:tblGrid>
              <a:tr h="320040">
                <a:tc>
                  <a:txBody>
                    <a:bodyPr/>
                    <a:lstStyle/>
                    <a:p>
                      <a:r>
                        <a:rPr sz="800" b="0" dirty="0">
                          <a:solidFill>
                            <a:srgbClr val="FFFFFF"/>
                          </a:solidFill>
                          <a:latin typeface="Nexa Bold"/>
                        </a:rPr>
                        <a:t>Cannibalization within </a:t>
                      </a:r>
                      <a:endParaRPr lang="en-US" sz="800" b="0" dirty="0">
                        <a:solidFill>
                          <a:srgbClr val="FFFFFF"/>
                        </a:solidFill>
                        <a:latin typeface="Nexa Bold"/>
                      </a:endParaRPr>
                    </a:p>
                    <a:p>
                      <a:r>
                        <a:rPr sz="800" b="0" dirty="0">
                          <a:solidFill>
                            <a:srgbClr val="FFFFFF"/>
                          </a:solidFill>
                          <a:latin typeface="Nexa Bold"/>
                        </a:rPr>
                        <a:t>Hershey</a:t>
                      </a:r>
                      <a:r>
                        <a:rPr lang="en-US" sz="800" b="0" dirty="0">
                          <a:solidFill>
                            <a:schemeClr val="bg1"/>
                          </a:solidFill>
                          <a:latin typeface="Nexa Bold"/>
                        </a:rPr>
                        <a:t>’</a:t>
                      </a:r>
                      <a:r>
                        <a:rPr sz="800" b="0" dirty="0">
                          <a:solidFill>
                            <a:srgbClr val="FFFFFF"/>
                          </a:solidFill>
                          <a:latin typeface="Nexa Bold"/>
                        </a:rPr>
                        <a:t>s portfolio</a:t>
                      </a:r>
                      <a:endParaRPr lang="en-US" sz="800" b="0" dirty="0">
                        <a:solidFill>
                          <a:schemeClr val="bg1"/>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US" sz="800" b="0" dirty="0">
                          <a:solidFill>
                            <a:srgbClr val="FFFFFF"/>
                          </a:solidFill>
                          <a:latin typeface="Nexa Bold"/>
                        </a:rPr>
                        <a:t>12</a:t>
                      </a:r>
                      <a:endParaRPr sz="800" b="0" dirty="0">
                        <a:solidFill>
                          <a:srgbClr val="FFFFFF"/>
                        </a:solidFill>
                        <a:latin typeface="Nexa Bold"/>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1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sz="800" b="0" dirty="0">
                          <a:solidFill>
                            <a:srgbClr val="FFFFFF"/>
                          </a:solidFill>
                          <a:latin typeface="Nexa Bold"/>
                        </a:rPr>
                        <a:t>7%</a:t>
                      </a:r>
                      <a:endParaRPr lang="en-AE" sz="800" b="0" i="0" u="none" strike="noStrike" dirty="0">
                        <a:solidFill>
                          <a:schemeClr val="bg1"/>
                        </a:solidFill>
                        <a:effectLst/>
                        <a:latin typeface="Nexa Book" panose="00000400000000000000" pitchFamily="50" charset="0"/>
                        <a:ea typeface="Open Sans" panose="020B0606030504020204" pitchFamily="34" charset="0"/>
                        <a:cs typeface="Open Sans" panose="020B0606030504020204" pitchFamily="34" charset="0"/>
                      </a:endParaRP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sz="800" b="0" dirty="0">
                          <a:solidFill>
                            <a:srgbClr val="575555"/>
                          </a:solidFill>
                          <a:latin typeface="Nexa Bold"/>
                        </a:rPr>
                        <a:t> </a:t>
                      </a:r>
                      <a:r>
                        <a:rPr lang="en-US" sz="800" b="0" dirty="0">
                          <a:solidFill>
                            <a:srgbClr val="575555"/>
                          </a:solidFill>
                          <a:latin typeface="Nexa Bold"/>
                        </a:rPr>
                        <a:t>Value</a:t>
                      </a:r>
                      <a:r>
                        <a:rPr sz="800" b="0" dirty="0">
                          <a:solidFill>
                            <a:srgbClr val="575555"/>
                          </a:solidFill>
                          <a:latin typeface="Nexa Bold"/>
                        </a:rPr>
                        <a:t> 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highlight>
                            <a:srgbClr val="FFFF00"/>
                          </a:highlight>
                          <a:latin typeface="Nexa Bold"/>
                        </a:rPr>
                        <a:t>Hershey’s</a:t>
                      </a:r>
                      <a:r>
                        <a:rPr lang="en-US" sz="800" b="0" dirty="0">
                          <a:solidFill>
                            <a:srgbClr val="575555"/>
                          </a:solidFill>
                          <a:latin typeface="Nexa Bold"/>
                        </a:rPr>
                        <a:t> Gross Profit </a:t>
                      </a:r>
                      <a:r>
                        <a:rPr sz="800" b="0" dirty="0">
                          <a:solidFill>
                            <a:srgbClr val="575555"/>
                          </a:solidFill>
                          <a:latin typeface="Nexa Bold"/>
                        </a:rPr>
                        <a:t>Ix</a:t>
                      </a:r>
                      <a:endParaRPr lang="en-US" sz="800" b="0" dirty="0">
                        <a:solidFill>
                          <a:schemeClr val="tx2"/>
                        </a:solidFill>
                        <a:latin typeface="Nexa Bold" panose="00000800000000000000" pitchFamily="2" charset="0"/>
                        <a:ea typeface="Open Sans" panose="020B0604020202020204" charset="0"/>
                        <a:cs typeface="Open Sans" panose="020B0604020202020204" charset="0"/>
                      </a:endParaRP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800" b="0" dirty="0">
                          <a:solidFill>
                            <a:srgbClr val="575555"/>
                          </a:solidFill>
                          <a:latin typeface="Nexa Book"/>
                        </a:rPr>
                        <a:t>1</a:t>
                      </a:r>
                      <a:endParaRPr sz="800" b="0" dirty="0">
                        <a:solidFill>
                          <a:srgbClr val="575555"/>
                        </a:solidFill>
                        <a:latin typeface="Nexa Book"/>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a:solidFill>
                            <a:srgbClr val="575555"/>
                          </a:solidFill>
                          <a:latin typeface="Nexa Book"/>
                        </a:rP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sz="800" b="0" dirty="0">
                          <a:solidFill>
                            <a:srgbClr val="575555"/>
                          </a:solidFill>
                          <a:latin typeface="Nexa Book"/>
                        </a:rPr>
                        <a:t>1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93091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3929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6474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07133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75555"/>
                </a:solidFill>
                <a:effectLst/>
                <a:uLnTx/>
                <a:uFillTx/>
                <a:latin typeface="Nexa Book"/>
                <a:ea typeface="Open Sans" panose="020B0606030504020204" pitchFamily="34" charset="0"/>
                <a:cs typeface="Open Sans" panose="020B0606030504020204" pitchFamily="34" charset="0"/>
              </a:rPr>
              <a:t>Rescaled Delta Share by Product &amp; </a:t>
            </a:r>
            <a:r>
              <a:rPr kumimoji="0" lang="en-US" sz="1000" b="0" i="0" u="none" strike="noStrike" kern="1200" cap="none" spc="0" normalizeH="0" baseline="0" noProof="0" dirty="0">
                <a:ln>
                  <a:noFill/>
                </a:ln>
                <a:solidFill>
                  <a:srgbClr val="00A097"/>
                </a:solidFill>
                <a:effectLst/>
                <a:uLnTx/>
                <a:uFillTx/>
                <a:latin typeface="Nexa Book"/>
                <a:ea typeface="Open Sans" panose="020B0606030504020204" pitchFamily="34" charset="0"/>
                <a:cs typeface="Open Sans" panose="020B0606030504020204" pitchFamily="34" charset="0"/>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59050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225609"/>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9971041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9/10/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rPr lang="en-US" dirty="0"/>
              <a:t>DATA SOURCE: Consumer Test | Dec 2023</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lang="en-US" dirty="0"/>
              <a:t>Innovation | Sourcing Analysis | Panda | </a:t>
            </a:r>
            <a:r>
              <a:rPr lang="en-US" dirty="0" err="1"/>
              <a:t>Cookies'n</a:t>
            </a:r>
            <a:r>
              <a:rPr lang="en-US" dirty="0"/>
              <a:t> Creme innovation</a:t>
            </a:r>
          </a:p>
          <a:p>
            <a:r>
              <a:rPr lang="en-US" sz="1000" dirty="0">
                <a:latin typeface="+mn-lt"/>
              </a:rPr>
              <a:t>Rescaled Delta Share by Product &amp; </a:t>
            </a:r>
            <a:r>
              <a:rPr lang="en-US" sz="1000" dirty="0">
                <a:solidFill>
                  <a:schemeClr val="accent3"/>
                </a:solidFill>
                <a:latin typeface="+mn-lt"/>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Block 9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Creations Salted Caramel 38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800" b="0" dirty="0">
                          <a:solidFill>
                            <a:srgbClr val="575555"/>
                          </a:solidFill>
                          <a:latin typeface="Nexa Bold"/>
                        </a:rPr>
                        <a:t>Hershey's Cookies 'n Creme 40Gx 4</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800" b="0" dirty="0">
                        <a:solidFill>
                          <a:srgbClr val="575555"/>
                        </a:solidFill>
                        <a:latin typeface="Nexa Bold"/>
                      </a:endParaRP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marL="0" indent="0" algn="l"/>
                      <a:r>
                        <a:rPr sz="700" dirty="0">
                          <a:solidFill>
                            <a:srgbClr val="575555"/>
                          </a:solidFill>
                          <a:latin typeface="Nexa Book"/>
                        </a:rPr>
                        <a:t>Galaxy Jewels 1.4kg</a:t>
                      </a:r>
                      <a:endParaRPr lang="it-IT" sz="600" dirty="0">
                        <a:solidFill>
                          <a:schemeClr val="tx2"/>
                        </a:solidFill>
                        <a:latin typeface="+mj-lt"/>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Cadbury Dairy Milk Minis Selection 5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9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Smooth Milk Chocolate 36g x 24</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Galaxy Jewels 650g</a:t>
                      </a:r>
                      <a:endParaRPr kumimoji="0" lang="pl-PL"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Mini Fun 384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Mackintosh Quality Street Chocolate 6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31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Ferrero Rocher 300g</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Tiffany Break Supa 38gx12</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700" dirty="0">
                          <a:solidFill>
                            <a:srgbClr val="575555"/>
                          </a:solidFill>
                          <a:latin typeface="Nexa Book"/>
                        </a:rPr>
                        <a:t>Kinder Maxi Chocolate 21gx11 (10+1)</a:t>
                      </a:r>
                      <a:endParaRPr kumimoji="0" lang="en-US" sz="600" b="0" i="0" u="none" strike="noStrike" kern="1200" cap="none" spc="0" normalizeH="0" baseline="0" noProof="0" dirty="0">
                        <a:ln>
                          <a:noFill/>
                        </a:ln>
                        <a:solidFill>
                          <a:srgbClr val="575555"/>
                        </a:solidFill>
                        <a:effectLst/>
                        <a:uLnTx/>
                        <a:uFillTx/>
                        <a:latin typeface="Nexa Bold"/>
                        <a:ea typeface="Open Sans" panose="020B0606030504020204" pitchFamily="34" charset="0"/>
                        <a:cs typeface="Open Sans" panose="020B0606030504020204" pitchFamily="34" charset="0"/>
                      </a:endParaRP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a:solidFill>
                            <a:schemeClr val="accent3"/>
                          </a:solidFill>
                          <a:latin typeface="Nexa Book" panose="00000400000000000000" pitchFamily="50" charset="0"/>
                          <a:ea typeface="Open Sans" panose="020B0606030504020204" pitchFamily="34" charset="0"/>
                          <a:cs typeface="Open Sans" panose="020B0606030504020204" pitchFamily="34" charset="0"/>
                        </a:rPr>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27771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225609"/>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3292770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225609"/>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75654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9/10/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4225609"/>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en-CH" sz="800" b="0" i="0" u="none" strike="noStrike" kern="1200" dirty="0">
                        <a:solidFill>
                          <a:srgbClr val="575555"/>
                        </a:solidFill>
                        <a:effectLst/>
                        <a:latin typeface="Nexa" panose="00000500000000000000" pitchFamily="2" charset="0"/>
                        <a:ea typeface="+mn-ea"/>
                        <a:cs typeface="+mn-cs"/>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5760038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7716629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6240602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Bake Liners for </a:t>
                      </a:r>
                      <a:r>
                        <a:rPr lang="en-US" sz="700" b="0" i="0" u="none" strike="noStrike" dirty="0" err="1">
                          <a:solidFill>
                            <a:srgbClr val="575555"/>
                          </a:solidFill>
                          <a:effectLst/>
                          <a:latin typeface="+mn-lt"/>
                        </a:rPr>
                        <a:t>Airfryers</a:t>
                      </a:r>
                      <a:r>
                        <a:rPr lang="en-US" sz="700" b="0" i="0" u="none" strike="noStrike" dirty="0">
                          <a:solidFill>
                            <a:srgbClr val="575555"/>
                          </a:solidFill>
                          <a:effectLst/>
                          <a:latin typeface="+mn-lt"/>
                        </a:rPr>
                        <a:t> 25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chemeClr val="bg1"/>
                          </a:solidFill>
                          <a:effectLst/>
                          <a:latin typeface="Nexa" panose="00000500000000000000" pitchFamily="2" charset="0"/>
                        </a:rPr>
                        <a:t>8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Small 2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a:solidFill>
                            <a:srgbClr val="575555"/>
                          </a:solidFill>
                          <a:effectLst/>
                          <a:latin typeface="Nexa" panose="00000500000000000000" pitchFamily="2" charset="0"/>
                        </a:rP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174228">
                <a:tc>
                  <a:txBody>
                    <a:bodyPr/>
                    <a:lstStyle/>
                    <a:p>
                      <a:pPr algn="l" rtl="0" fontAlgn="ctr"/>
                      <a:r>
                        <a:rPr lang="en-US" sz="700" b="0" i="0" u="none" strike="noStrike" dirty="0">
                          <a:solidFill>
                            <a:srgbClr val="575555"/>
                          </a:solidFill>
                          <a:effectLst/>
                          <a:latin typeface="+mn-lt"/>
                        </a:rPr>
                        <a:t>Bundle pack Jan alu foil 20m and Jan Baking paper 16 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Perforated Cling Film 10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8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
                <a:tc>
                  <a:txBody>
                    <a:bodyPr/>
                    <a:lstStyle/>
                    <a:p>
                      <a:pPr algn="l" rtl="0" fontAlgn="ctr"/>
                      <a:r>
                        <a:rPr lang="en-US" sz="700" b="0" i="0" u="none" strike="noStrike" dirty="0">
                          <a:solidFill>
                            <a:srgbClr val="575555"/>
                          </a:solidFill>
                          <a:effectLst/>
                          <a:latin typeface="+mn-lt"/>
                        </a:rPr>
                        <a:t>Jan </a:t>
                      </a:r>
                      <a:r>
                        <a:rPr lang="en-US" sz="700" b="0" i="0" u="none" strike="noStrike" dirty="0" err="1">
                          <a:solidFill>
                            <a:srgbClr val="575555"/>
                          </a:solidFill>
                          <a:effectLst/>
                          <a:latin typeface="+mn-lt"/>
                        </a:rPr>
                        <a:t>Niezbedny</a:t>
                      </a:r>
                      <a:r>
                        <a:rPr lang="en-US" sz="700" b="0" i="0" u="none" strike="noStrike" dirty="0">
                          <a:solidFill>
                            <a:srgbClr val="575555"/>
                          </a:solidFill>
                          <a:effectLst/>
                          <a:latin typeface="+mn-lt"/>
                        </a:rPr>
                        <a:t> </a:t>
                      </a:r>
                      <a:r>
                        <a:rPr lang="en-US" sz="700" b="0" i="0" u="none" strike="noStrike" dirty="0" err="1">
                          <a:solidFill>
                            <a:srgbClr val="575555"/>
                          </a:solidFill>
                          <a:effectLst/>
                          <a:latin typeface="+mn-lt"/>
                        </a:rPr>
                        <a:t>Multibake</a:t>
                      </a:r>
                      <a:r>
                        <a:rPr lang="en-US" sz="700" b="0" i="0" u="none" strike="noStrike" dirty="0">
                          <a:solidFill>
                            <a:srgbClr val="575555"/>
                          </a:solidFill>
                          <a:effectLst/>
                          <a:latin typeface="+mn-lt"/>
                        </a:rPr>
                        <a:t> Paper 16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fontAlgn="ctr"/>
                      <a:r>
                        <a:rPr lang="en-CH" sz="700" b="0" i="0" u="none" strike="noStrike" dirty="0">
                          <a:solidFill>
                            <a:srgbClr val="575555"/>
                          </a:solidFill>
                          <a:effectLst/>
                          <a:latin typeface="Nexa" panose="00000500000000000000" pitchFamily="2" charset="0"/>
                        </a:rPr>
                        <a:t>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fontAlgn="ctr"/>
                      <a:r>
                        <a:rPr lang="en-CH" sz="700" b="0" i="0" u="none" strike="noStrike" dirty="0">
                          <a:solidFill>
                            <a:srgbClr val="575555"/>
                          </a:solidFill>
                          <a:effectLst/>
                          <a:latin typeface="Nexa" panose="00000500000000000000" pitchFamily="2" charset="0"/>
                        </a:rP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US" sz="700" b="0" i="0" u="none" strike="noStrike">
                          <a:solidFill>
                            <a:srgbClr val="575555"/>
                          </a:solidFill>
                          <a:effectLst/>
                          <a:latin typeface="Nexa" panose="00000500000000000000" pitchFamily="2" charset="0"/>
                        </a:rPr>
                        <a:t>103</a:t>
                      </a:r>
                      <a:endParaRPr lang="en-CH"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3</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r>
                        <a:rPr lang="en-CH" sz="700" b="0" i="0" u="none" strike="noStrike" dirty="0">
                          <a:solidFill>
                            <a:srgbClr val="575555"/>
                          </a:solidFill>
                          <a:effectLst/>
                          <a:latin typeface="Nexa" panose="00000500000000000000" pitchFamily="2" charset="0"/>
                        </a:rPr>
                        <a:t>10</a:t>
                      </a:r>
                      <a:r>
                        <a:rPr lang="en-US" sz="700" b="0" i="0" u="none" strike="noStrike" dirty="0">
                          <a:solidFill>
                            <a:srgbClr val="575555"/>
                          </a:solidFill>
                          <a:effectLst/>
                          <a:latin typeface="Nexa" panose="00000500000000000000" pitchFamily="2" charset="0"/>
                        </a:rPr>
                        <a:t>5</a:t>
                      </a: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rPr lang="fr-FR" dirty="0"/>
              <a:t>SOURCE: Data Source A | Description</a:t>
            </a:r>
          </a:p>
        </p:txBody>
      </p:sp>
    </p:spTree>
    <p:extLst>
      <p:ext uri="{BB962C8B-B14F-4D97-AF65-F5344CB8AC3E}">
        <p14:creationId xmlns:p14="http://schemas.microsoft.com/office/powerpoint/2010/main" val="170317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210122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821075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320253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9/10/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rPr lang="en-US"/>
              <a:t>DATA SOURCE: Consumer Test | Dec 2023</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r>
              <a:rPr lang="en-US" dirty="0"/>
              <a:t>Ranking SKUs when introducing each innovation one by one | Panda | </a:t>
            </a:r>
            <a:r>
              <a:rPr lang="en-US" dirty="0" err="1"/>
              <a:t>Cookies'n</a:t>
            </a:r>
            <a:r>
              <a:rPr lang="en-US" dirty="0"/>
              <a:t> Creme innovation</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383323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789</Words>
  <Application>Microsoft Office PowerPoint</Application>
  <PresentationFormat>On-screen Show (16:9)</PresentationFormat>
  <Paragraphs>1126</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i SALEM</cp:lastModifiedBy>
  <cp:revision>16</cp:revision>
  <dcterms:created xsi:type="dcterms:W3CDTF">2024-07-08T12:20:01Z</dcterms:created>
  <dcterms:modified xsi:type="dcterms:W3CDTF">2025-09-10T12: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